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88487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927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0FOQMuV0bQU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hlinkClick r:id="rId2"/>
            <a:extLst>
              <a:ext uri="{FF2B5EF4-FFF2-40B4-BE49-F238E27FC236}">
                <a16:creationId xmlns:a16="http://schemas.microsoft.com/office/drawing/2014/main" id="{55A0F400-3D79-4A25-B0FE-8813F660414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40" r="13940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5 Apri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rk Rylance, Sally Hawkins, Rhys </a:t>
            </a:r>
            <a:r>
              <a:rPr lang="en-US" dirty="0" err="1">
                <a:solidFill>
                  <a:schemeClr val="accent6"/>
                </a:solidFill>
              </a:rPr>
              <a:t>Ifans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Craig Roberts (</a:t>
            </a:r>
            <a:r>
              <a:rPr lang="en-US" i="1" dirty="0">
                <a:solidFill>
                  <a:schemeClr val="accent6"/>
                </a:solidFill>
              </a:rPr>
              <a:t>Eternal Beauty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Fisherman’s Friend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film adaptation of this uniquely British story has received strong acclaim from festival audience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270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590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The story of golfer Maurice </a:t>
            </a:r>
            <a:r>
              <a:rPr lang="en-US" b="0" dirty="0" err="1"/>
              <a:t>Flitcroft</a:t>
            </a:r>
            <a:r>
              <a:rPr lang="en-US" b="0" dirty="0"/>
              <a:t>, whose performance at the 1976 British Open Golf Championship made him a legend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Phantom of the Ope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4" y="683659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n unbelievable true story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4943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3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Phantom of the Ope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The Phantom of the Open</dc:description>
  <cp:lastModifiedBy/>
  <cp:revision>1</cp:revision>
  <dcterms:created xsi:type="dcterms:W3CDTF">2019-03-25T11:13:20Z</dcterms:created>
  <dcterms:modified xsi:type="dcterms:W3CDTF">2022-01-19T16:57:2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The Phantom of the Open</vt:lpwstr>
  </property>
</Properties>
</file>